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0"/>
  </p:notesMasterIdLst>
  <p:handoutMasterIdLst>
    <p:handoutMasterId r:id="rId81"/>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317"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27" d="100"/>
          <a:sy n="127" d="100"/>
        </p:scale>
        <p:origin x="162" y="91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presProps" Target="presProps.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3/15/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3/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60738775"/>
              </p:ext>
            </p:extLst>
          </p:nvPr>
        </p:nvGraphicFramePr>
        <p:xfrm>
          <a:off x="2222062" y="3084028"/>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713561"/>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679441"/>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735</TotalTime>
  <Words>7300</Words>
  <Application>Microsoft Office PowerPoint</Application>
  <PresentationFormat>Widescreen</PresentationFormat>
  <Paragraphs>2208</Paragraphs>
  <Slides>78</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8</vt:i4>
      </vt:variant>
    </vt:vector>
  </HeadingPairs>
  <TitlesOfParts>
    <vt:vector size="89"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92</cp:revision>
  <dcterms:created xsi:type="dcterms:W3CDTF">2016-10-16T15:51:34Z</dcterms:created>
  <dcterms:modified xsi:type="dcterms:W3CDTF">2019-03-15T09:21:27Z</dcterms:modified>
</cp:coreProperties>
</file>